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23"/>
  </p:notesMasterIdLst>
  <p:handoutMasterIdLst>
    <p:handoutMasterId r:id="rId24"/>
  </p:handoutMasterIdLst>
  <p:sldIdLst>
    <p:sldId id="430" r:id="rId2"/>
    <p:sldId id="431" r:id="rId3"/>
    <p:sldId id="311" r:id="rId4"/>
    <p:sldId id="443" r:id="rId5"/>
    <p:sldId id="440" r:id="rId6"/>
    <p:sldId id="432" r:id="rId7"/>
    <p:sldId id="448" r:id="rId8"/>
    <p:sldId id="441" r:id="rId9"/>
    <p:sldId id="444" r:id="rId10"/>
    <p:sldId id="439" r:id="rId11"/>
    <p:sldId id="442" r:id="rId12"/>
    <p:sldId id="433" r:id="rId13"/>
    <p:sldId id="434" r:id="rId14"/>
    <p:sldId id="435" r:id="rId15"/>
    <p:sldId id="438" r:id="rId16"/>
    <p:sldId id="436" r:id="rId17"/>
    <p:sldId id="437" r:id="rId18"/>
    <p:sldId id="445" r:id="rId19"/>
    <p:sldId id="446" r:id="rId20"/>
    <p:sldId id="447" r:id="rId21"/>
    <p:sldId id="429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1E42"/>
    <a:srgbClr val="000000"/>
    <a:srgbClr val="0431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15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15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5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299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ases</a:t>
            </a:r>
            <a:r>
              <a:rPr lang="de-DE" dirty="0"/>
              <a:t> können direkt abgeles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graphicFrame>
        <p:nvGraphicFramePr>
          <p:cNvPr id="2" name="Tabelle 7">
            <a:extLst>
              <a:ext uri="{FF2B5EF4-FFF2-40B4-BE49-F238E27FC236}">
                <a16:creationId xmlns:a16="http://schemas.microsoft.com/office/drawing/2014/main" id="{EFB559C1-B784-539B-47A2-BECF9D645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662752"/>
              </p:ext>
            </p:extLst>
          </p:nvPr>
        </p:nvGraphicFramePr>
        <p:xfrm>
          <a:off x="515937" y="2610559"/>
          <a:ext cx="4376945" cy="28178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75389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070901893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85128">
                <a:tc>
                  <a:txBody>
                    <a:bodyPr/>
                    <a:lstStyle/>
                    <a:p>
                      <a:r>
                        <a:rPr lang="de-DE" sz="1100" dirty="0"/>
                        <a:t>Name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lter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bteilung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7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6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8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9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4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84B13B4-10FB-C100-8175-10E11CCE4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595192"/>
              </p:ext>
            </p:extLst>
          </p:nvPr>
        </p:nvGraphicFramePr>
        <p:xfrm>
          <a:off x="8503190" y="2627723"/>
          <a:ext cx="2619198" cy="28106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3066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79413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efördern?</a:t>
                      </a:r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65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80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D417375-8D22-08D7-D645-4102502E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88779"/>
              </p:ext>
            </p:extLst>
          </p:nvPr>
        </p:nvGraphicFramePr>
        <p:xfrm>
          <a:off x="5819163" y="2611253"/>
          <a:ext cx="1757746" cy="28271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8873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8873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</a:tblGrid>
              <a:tr h="382579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 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1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858EF3E3-E2D9-9D02-1BFF-B0D35B9A422C}"/>
              </a:ext>
            </a:extLst>
          </p:cNvPr>
          <p:cNvSpPr/>
          <p:nvPr/>
        </p:nvSpPr>
        <p:spPr>
          <a:xfrm>
            <a:off x="5068647" y="4011781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B65EAA4-E588-6FAF-FD82-F64A9C7C8D72}"/>
              </a:ext>
            </a:extLst>
          </p:cNvPr>
          <p:cNvSpPr/>
          <p:nvPr/>
        </p:nvSpPr>
        <p:spPr>
          <a:xfrm>
            <a:off x="7752674" y="4011780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7652F75-F251-3F7E-3A83-66307C84ADEF}"/>
              </a:ext>
            </a:extLst>
          </p:cNvPr>
          <p:cNvSpPr txBox="1"/>
          <p:nvPr/>
        </p:nvSpPr>
        <p:spPr>
          <a:xfrm>
            <a:off x="515936" y="5459528"/>
            <a:ext cx="4376945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 testende Datensat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DE7077-F09D-71A6-C27C-531F269B31AF}"/>
              </a:ext>
            </a:extLst>
          </p:cNvPr>
          <p:cNvSpPr txBox="1"/>
          <p:nvPr/>
        </p:nvSpPr>
        <p:spPr>
          <a:xfrm>
            <a:off x="5819163" y="5473029"/>
            <a:ext cx="1757746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797B6A2-1DBB-36CE-3F0E-6184B964B485}"/>
              </a:ext>
            </a:extLst>
          </p:cNvPr>
          <p:cNvSpPr txBox="1"/>
          <p:nvPr/>
        </p:nvSpPr>
        <p:spPr>
          <a:xfrm>
            <a:off x="8503189" y="5511831"/>
            <a:ext cx="2619197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 + Entscheidungsspalte</a:t>
            </a:r>
          </a:p>
        </p:txBody>
      </p:sp>
    </p:spTree>
    <p:extLst>
      <p:ext uri="{BB962C8B-B14F-4D97-AF65-F5344CB8AC3E}">
        <p14:creationId xmlns:p14="http://schemas.microsoft.com/office/powerpoint/2010/main" val="21174571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5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5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068204-A6FE-F4ED-690E-22872D79D6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34163"/>
            <a:ext cx="9574213" cy="123825"/>
          </a:xfrm>
        </p:spPr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EFB5F41-C01C-6051-8A06-9DEE41BA05FC}"/>
              </a:ext>
            </a:extLst>
          </p:cNvPr>
          <p:cNvSpPr txBox="1"/>
          <p:nvPr/>
        </p:nvSpPr>
        <p:spPr>
          <a:xfrm rot="20850059">
            <a:off x="1932625" y="3301331"/>
            <a:ext cx="8191500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dirty="0" err="1">
                <a:solidFill>
                  <a:prstClr val="black"/>
                </a:solidFill>
                <a:latin typeface="Arial"/>
              </a:rPr>
              <a:t>Vlt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zu Beginn kurz was zu unserer Literaturrecherche, der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Searchstr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die Tabelle und die Konzeptmatrix :D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4718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AE1BE41-6C59-5BAA-50D5-2010FF194301}"/>
              </a:ext>
            </a:extLst>
          </p:cNvPr>
          <p:cNvSpPr txBox="1"/>
          <p:nvPr/>
        </p:nvSpPr>
        <p:spPr>
          <a:xfrm>
            <a:off x="515937" y="1927881"/>
            <a:ext cx="224404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irness schaff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991BE84-E95D-A801-1437-A38DA9B664E5}"/>
              </a:ext>
            </a:extLst>
          </p:cNvPr>
          <p:cNvSpPr txBox="1"/>
          <p:nvPr/>
        </p:nvSpPr>
        <p:spPr>
          <a:xfrm>
            <a:off x="671118" y="2340456"/>
            <a:ext cx="5217954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A6F1212-B0A6-F2C6-29B2-94A0FB0E2843}"/>
              </a:ext>
            </a:extLst>
          </p:cNvPr>
          <p:cNvSpPr txBox="1"/>
          <p:nvPr/>
        </p:nvSpPr>
        <p:spPr>
          <a:xfrm>
            <a:off x="671118" y="2963389"/>
            <a:ext cx="484883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0F455AF-DD68-FA9C-0306-102359EB084E}"/>
              </a:ext>
            </a:extLst>
          </p:cNvPr>
          <p:cNvSpPr txBox="1"/>
          <p:nvPr/>
        </p:nvSpPr>
        <p:spPr>
          <a:xfrm>
            <a:off x="671119" y="4584382"/>
            <a:ext cx="484883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CBE55CC-1244-A3BE-6001-443CCE7B1D93}"/>
              </a:ext>
            </a:extLst>
          </p:cNvPr>
          <p:cNvSpPr txBox="1"/>
          <p:nvPr/>
        </p:nvSpPr>
        <p:spPr>
          <a:xfrm>
            <a:off x="515937" y="4171184"/>
            <a:ext cx="417350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fairness entdeck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618E50D-FE7B-DAB1-B1DC-F5B9EBAAD3AE}"/>
              </a:ext>
            </a:extLst>
          </p:cNvPr>
          <p:cNvSpPr txBox="1"/>
          <p:nvPr/>
        </p:nvSpPr>
        <p:spPr>
          <a:xfrm>
            <a:off x="671119" y="4935062"/>
            <a:ext cx="484883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A34BE5C-CB52-D3E5-3C3F-EF57510966D6}"/>
              </a:ext>
            </a:extLst>
          </p:cNvPr>
          <p:cNvSpPr txBox="1"/>
          <p:nvPr/>
        </p:nvSpPr>
        <p:spPr>
          <a:xfrm>
            <a:off x="671118" y="3312161"/>
            <a:ext cx="484883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„Data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rangling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 (</a:t>
            </a:r>
            <a:r>
              <a:rPr lang="de-DE" sz="1600" dirty="0" err="1"/>
              <a:t>Mazilu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62A56DD-A1CB-27CA-DAEB-1864CBA0408E}"/>
              </a:ext>
            </a:extLst>
          </p:cNvPr>
          <p:cNvSpPr txBox="1"/>
          <p:nvPr/>
        </p:nvSpPr>
        <p:spPr>
          <a:xfrm>
            <a:off x="671119" y="5288050"/>
            <a:ext cx="484883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9E111DD-D2CD-B762-F336-1624FFF86FA1}"/>
              </a:ext>
            </a:extLst>
          </p:cNvPr>
          <p:cNvSpPr txBox="1"/>
          <p:nvPr/>
        </p:nvSpPr>
        <p:spPr>
          <a:xfrm>
            <a:off x="671118" y="3669072"/>
            <a:ext cx="484883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E26AADC-B259-AF65-475E-8C0988A12375}"/>
              </a:ext>
            </a:extLst>
          </p:cNvPr>
          <p:cNvSpPr txBox="1"/>
          <p:nvPr/>
        </p:nvSpPr>
        <p:spPr>
          <a:xfrm rot="20602287">
            <a:off x="6596905" y="2548148"/>
            <a:ext cx="4275227" cy="890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nnst an der Folie ändern, was du willst, hatte nur Zeit und ne Idee, wie man den Forschungsstand abbilden könnte</a:t>
            </a:r>
          </a:p>
        </p:txBody>
      </p:sp>
    </p:spTree>
    <p:extLst>
      <p:ext uri="{BB962C8B-B14F-4D97-AF65-F5344CB8AC3E}">
        <p14:creationId xmlns:p14="http://schemas.microsoft.com/office/powerpoint/2010/main" val="2071817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5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5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AD97575-9AEC-035B-3742-A82390FD40EF}"/>
              </a:ext>
            </a:extLst>
          </p:cNvPr>
          <p:cNvSpPr txBox="1"/>
          <p:nvPr/>
        </p:nvSpPr>
        <p:spPr>
          <a:xfrm rot="20622517">
            <a:off x="4664279" y="4142064"/>
            <a:ext cx="725647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mittlung von Verzerrungen (Bias) und Quellen potenzieller Diskriminierung in tabellarischen Datensätzen</a:t>
            </a:r>
          </a:p>
        </p:txBody>
      </p:sp>
    </p:spTree>
    <p:extLst>
      <p:ext uri="{BB962C8B-B14F-4D97-AF65-F5344CB8AC3E}">
        <p14:creationId xmlns:p14="http://schemas.microsoft.com/office/powerpoint/2010/main" val="3045937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5</Words>
  <Application>Microsoft Office PowerPoint</Application>
  <PresentationFormat>Breitbild</PresentationFormat>
  <Paragraphs>235</Paragraphs>
  <Slides>2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6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1. Problem</vt:lpstr>
      <vt:lpstr>PowerPoint-Präsentation</vt:lpstr>
      <vt:lpstr>2. Stand der Wissenschaft</vt:lpstr>
      <vt:lpstr>PowerPoint-Präsentation</vt:lpstr>
      <vt:lpstr>Es gibt viele Ansätze, um Unfairness zu entdecken und Fairness zu schaffen</vt:lpstr>
      <vt:lpstr>3. Forschungsfrage</vt:lpstr>
      <vt:lpstr>PowerPoint-Präsentation</vt:lpstr>
      <vt:lpstr>4. 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Biases können direkt abgelesen werden</vt:lpstr>
      <vt:lpstr>5. Experimente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15T15:36:03Z</dcterms:modified>
</cp:coreProperties>
</file>